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1023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A1F52B-61DC-4324-A077-C37EB74DAA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+mj-cs"/>
              <a:sym typeface="Franklin Gothic Demi Cond" panose="020B07060304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984074" y="2514600"/>
            <a:ext cx="5441740" cy="2006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4400" b="1" i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984073" y="4546601"/>
            <a:ext cx="5441740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bg1"/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5EB5704-3C92-4CFB-9F02-9B3474CC089E}"/>
              </a:ext>
            </a:extLst>
          </p:cNvPr>
          <p:cNvSpPr/>
          <p:nvPr userDrawn="1"/>
        </p:nvSpPr>
        <p:spPr>
          <a:xfrm rot="13500000">
            <a:off x="-1265973" y="2256305"/>
            <a:ext cx="2531946" cy="253198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934592E-265C-2F4A-A52E-58213B45538C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199266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2B9E8-F693-456A-8F35-3BBDF9DE4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C81EC-B4C4-4791-9D2B-93E01F300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8EE78-369A-4A83-91BE-CE1CDBA0BAF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29">
            <a:extLst>
              <a:ext uri="{FF2B5EF4-FFF2-40B4-BE49-F238E27FC236}">
                <a16:creationId xmlns:a16="http://schemas.microsoft.com/office/drawing/2014/main" id="{AB3C08E7-A51F-5048-BE14-3699F84B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0944664" cy="62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FF2B-B996-6846-A499-68923F7338C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  <p:sp>
        <p:nvSpPr>
          <p:cNvPr id="8" name="Triangle 3">
            <a:extLst>
              <a:ext uri="{FF2B5EF4-FFF2-40B4-BE49-F238E27FC236}">
                <a16:creationId xmlns:a16="http://schemas.microsoft.com/office/drawing/2014/main" id="{91FF00CB-4C16-4E4D-A210-5430E99CC01D}"/>
              </a:ext>
            </a:extLst>
          </p:cNvPr>
          <p:cNvSpPr/>
          <p:nvPr userDrawn="1"/>
        </p:nvSpPr>
        <p:spPr>
          <a:xfrm rot="5400000">
            <a:off x="7732466" y="-3180345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riangle 3">
            <a:extLst>
              <a:ext uri="{FF2B5EF4-FFF2-40B4-BE49-F238E27FC236}">
                <a16:creationId xmlns:a16="http://schemas.microsoft.com/office/drawing/2014/main" id="{2BCB9C62-8D47-3A43-8E9E-96102264727E}"/>
              </a:ext>
            </a:extLst>
          </p:cNvPr>
          <p:cNvSpPr/>
          <p:nvPr userDrawn="1"/>
        </p:nvSpPr>
        <p:spPr>
          <a:xfrm rot="16200000">
            <a:off x="3140589" y="2398468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AEF283BE-109D-B14D-94A5-77E8E82524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bg1"/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bg1"/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2076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2B9E8-F693-456A-8F35-3BBDF9DE4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C81EC-B4C4-4791-9D2B-93E01F300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8EE78-369A-4A83-91BE-CE1CDBA0BAF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29">
            <a:extLst>
              <a:ext uri="{FF2B5EF4-FFF2-40B4-BE49-F238E27FC236}">
                <a16:creationId xmlns:a16="http://schemas.microsoft.com/office/drawing/2014/main" id="{AB3C08E7-A51F-5048-BE14-3699F84B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0944664" cy="62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accent3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FF2B-B996-6846-A499-68923F7338C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  <p:sp>
        <p:nvSpPr>
          <p:cNvPr id="8" name="Triangle 3">
            <a:extLst>
              <a:ext uri="{FF2B5EF4-FFF2-40B4-BE49-F238E27FC236}">
                <a16:creationId xmlns:a16="http://schemas.microsoft.com/office/drawing/2014/main" id="{CE82098A-0C7D-2347-9D2C-A44AB29ADE36}"/>
              </a:ext>
            </a:extLst>
          </p:cNvPr>
          <p:cNvSpPr/>
          <p:nvPr userDrawn="1"/>
        </p:nvSpPr>
        <p:spPr>
          <a:xfrm rot="5400000">
            <a:off x="7732466" y="-3180345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riangle 3">
            <a:extLst>
              <a:ext uri="{FF2B5EF4-FFF2-40B4-BE49-F238E27FC236}">
                <a16:creationId xmlns:a16="http://schemas.microsoft.com/office/drawing/2014/main" id="{C7BD600C-8B08-3B48-832A-7C4E4370616A}"/>
              </a:ext>
            </a:extLst>
          </p:cNvPr>
          <p:cNvSpPr/>
          <p:nvPr userDrawn="1"/>
        </p:nvSpPr>
        <p:spPr>
          <a:xfrm rot="16200000">
            <a:off x="3140589" y="2398468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29">
            <a:extLst>
              <a:ext uri="{FF2B5EF4-FFF2-40B4-BE49-F238E27FC236}">
                <a16:creationId xmlns:a16="http://schemas.microsoft.com/office/drawing/2014/main" id="{0480E5B2-20FB-6646-82B2-A68B2A10F6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bg1"/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bg1"/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796186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2B9E8-F693-456A-8F35-3BBDF9DE4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C81EC-B4C4-4791-9D2B-93E01F300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8EE78-369A-4A83-91BE-CE1CDBA0BAF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29">
            <a:extLst>
              <a:ext uri="{FF2B5EF4-FFF2-40B4-BE49-F238E27FC236}">
                <a16:creationId xmlns:a16="http://schemas.microsoft.com/office/drawing/2014/main" id="{AB3C08E7-A51F-5048-BE14-3699F84B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0944664" cy="62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FF2B-B996-6846-A499-68923F7338C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473CB0D4-3E52-774D-947F-B4B3D310B6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bg1"/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bg1"/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12839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2B9E8-F693-456A-8F35-3BBDF9DE4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C81EC-B4C4-4791-9D2B-93E01F300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8EE78-369A-4A83-91BE-CE1CDBA0BAF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29">
            <a:extLst>
              <a:ext uri="{FF2B5EF4-FFF2-40B4-BE49-F238E27FC236}">
                <a16:creationId xmlns:a16="http://schemas.microsoft.com/office/drawing/2014/main" id="{AB3C08E7-A51F-5048-BE14-3699F84B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0944664" cy="62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FF2B-B996-6846-A499-68923F7338C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BA4A290A-0B1B-1B41-B64D-A2ACD9FC3A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bg1"/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bg1"/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66496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2B9E8-F693-456A-8F35-3BBDF9DE4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fld id="{6358EE78-369A-4A83-91BE-CE1CDBA0BAF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C81EC-B4C4-4791-9D2B-93E01F300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29">
            <a:extLst>
              <a:ext uri="{FF2B5EF4-FFF2-40B4-BE49-F238E27FC236}">
                <a16:creationId xmlns:a16="http://schemas.microsoft.com/office/drawing/2014/main" id="{AB3C08E7-A51F-5048-BE14-3699F84B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0944664" cy="62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accent3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FF2B-B996-6846-A499-68923F7338C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E87DEB99-99D6-B24A-AEB3-6412F8F356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bg1"/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bg1"/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5998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508BDA9-2CC5-4441-9CB2-F421A72E49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508BDA9-2CC5-4441-9CB2-F421A72E49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60C9AF-AEE9-44CC-BA6A-A3C6CF5AFD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41" b="1" i="0" baseline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3071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61390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85912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EC5093-76F8-49DE-8F33-6006C2E33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EC5093-76F8-49DE-8F33-6006C2E33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3A1F52B-61DC-4324-A077-C37EB74DAA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+mj-cs"/>
              <a:sym typeface="Franklin Gothic Demi Cond" panose="020B07060304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984074" y="2514600"/>
            <a:ext cx="5441740" cy="20066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>
              <a:defRPr sz="4400" b="1" i="0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984073" y="4546601"/>
            <a:ext cx="5441740" cy="2921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45719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55EB5704-3C92-4CFB-9F02-9B3474CC089E}"/>
              </a:ext>
            </a:extLst>
          </p:cNvPr>
          <p:cNvSpPr/>
          <p:nvPr userDrawn="1"/>
        </p:nvSpPr>
        <p:spPr>
          <a:xfrm rot="13500000">
            <a:off x="-1265973" y="2256305"/>
            <a:ext cx="2531946" cy="2531984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5065A28-90A9-C146-9E04-1106F8FAE2E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755" y="6266328"/>
            <a:ext cx="1098346" cy="461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901491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ding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4AC5AB-9D5A-4E12-952B-CAA102317B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err="1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Calibri" panose="020F0502020204030204" pitchFamily="34" charset="0"/>
              <a:sym typeface="Franklin Gothic Demi Cond" panose="020B07060304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8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10949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10949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D6C37E6-066A-43B8-BCBB-885C4C9BD9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4556" y="3013503"/>
            <a:ext cx="10098505" cy="830997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4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3BA80537-E1FD-43A7-B1F7-B96B274FF2EA}"/>
              </a:ext>
            </a:extLst>
          </p:cNvPr>
          <p:cNvSpPr/>
          <p:nvPr userDrawn="1"/>
        </p:nvSpPr>
        <p:spPr>
          <a:xfrm rot="13500000">
            <a:off x="-865672" y="2563315"/>
            <a:ext cx="1731346" cy="1731371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57166B-24F5-4204-9224-B066CC9B56B4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7437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nd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4AC5AB-9D5A-4E12-952B-CAA102317B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65" b="0" i="0" baseline="0" err="1">
              <a:solidFill>
                <a:schemeClr val="tx1"/>
              </a:solidFill>
              <a:latin typeface="Franklin Gothic Demi Cond" panose="020B0706030402020204" pitchFamily="34" charset="0"/>
              <a:ea typeface="+mj-ea"/>
              <a:cs typeface="Calibri" panose="020F0502020204030204" pitchFamily="34" charset="0"/>
              <a:sym typeface="Franklin Gothic Demi Cond" panose="020B0706030402020204" pitchFamily="34" charset="0"/>
            </a:endParaRP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487911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89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88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10949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TIAL AND PROPRIETARY</a:t>
            </a:r>
          </a:p>
          <a:p>
            <a:pPr marL="0" marR="0" lvl="0" indent="0" algn="l" defTabSz="109499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16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9D6C37E6-066A-43B8-BCBB-885C4C9BD9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4556" y="3059669"/>
            <a:ext cx="9519287" cy="738664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4800" b="1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3BA80537-E1FD-43A7-B1F7-B96B274FF2EA}"/>
              </a:ext>
            </a:extLst>
          </p:cNvPr>
          <p:cNvSpPr/>
          <p:nvPr userDrawn="1"/>
        </p:nvSpPr>
        <p:spPr>
          <a:xfrm rot="13500000">
            <a:off x="-865672" y="2563315"/>
            <a:ext cx="1731346" cy="1731371"/>
          </a:xfrm>
          <a:prstGeom prst="rtTriangl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E57166B-24F5-4204-9224-B066CC9B56B4}"/>
              </a:ext>
            </a:extLst>
          </p:cNvPr>
          <p:cNvPicPr>
            <a:picLocks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3844" y="6310038"/>
            <a:ext cx="1010736" cy="3383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F9D4B74-8915-D746-84F7-3711388416C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755" y="6266328"/>
            <a:ext cx="1098346" cy="461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5393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29">
            <a:extLst>
              <a:ext uri="{FF2B5EF4-FFF2-40B4-BE49-F238E27FC236}">
                <a16:creationId xmlns:a16="http://schemas.microsoft.com/office/drawing/2014/main" id="{FFD095AB-E691-40C1-B921-3ADDD0516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1365688" cy="680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tx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Add a photo to the bottom green triangle here</a:t>
            </a: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F5E6F0E6-329E-504D-BE1D-490C7D9DDDA9}"/>
              </a:ext>
            </a:extLst>
          </p:cNvPr>
          <p:cNvSpPr/>
          <p:nvPr userDrawn="1"/>
        </p:nvSpPr>
        <p:spPr>
          <a:xfrm rot="5400000">
            <a:off x="7732466" y="-3180345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99E79421-32C7-F54A-8BEE-55B861998C8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3447" y="5539056"/>
            <a:ext cx="7639878" cy="1318944"/>
          </a:xfrm>
          <a:prstGeom prst="rtTriangle">
            <a:avLst/>
          </a:prstGeom>
          <a:solidFill>
            <a:schemeClr val="accent2"/>
          </a:solidFill>
        </p:spPr>
        <p:txBody>
          <a:bodyPr/>
          <a:lstStyle/>
          <a:p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67AF308-A01D-0749-9F01-901D3BB0DB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755" y="6266328"/>
            <a:ext cx="1098346" cy="461090"/>
          </a:xfrm>
          <a:prstGeom prst="rect">
            <a:avLst/>
          </a:prstGeom>
        </p:spPr>
      </p:pic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5A22196A-4B76-644B-917B-85AA0E9A71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accent6">
                    <a:lumMod val="85000"/>
                    <a:lumOff val="15000"/>
                  </a:schemeClr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accent6">
                    <a:lumMod val="85000"/>
                    <a:lumOff val="15000"/>
                  </a:schemeClr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accent6">
                    <a:lumMod val="85000"/>
                    <a:lumOff val="15000"/>
                  </a:schemeClr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accent6">
                    <a:lumMod val="85000"/>
                    <a:lumOff val="15000"/>
                  </a:schemeClr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accent6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0301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29">
            <a:extLst>
              <a:ext uri="{FF2B5EF4-FFF2-40B4-BE49-F238E27FC236}">
                <a16:creationId xmlns:a16="http://schemas.microsoft.com/office/drawing/2014/main" id="{FFD095AB-E691-40C1-B921-3ADDD0516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1039258" cy="680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tx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4" name="Triangle 3">
            <a:extLst>
              <a:ext uri="{FF2B5EF4-FFF2-40B4-BE49-F238E27FC236}">
                <a16:creationId xmlns:a16="http://schemas.microsoft.com/office/drawing/2014/main" id="{F5E6F0E6-329E-504D-BE1D-490C7D9DDDA9}"/>
              </a:ext>
            </a:extLst>
          </p:cNvPr>
          <p:cNvSpPr/>
          <p:nvPr userDrawn="1"/>
        </p:nvSpPr>
        <p:spPr>
          <a:xfrm rot="5400000">
            <a:off x="7732466" y="-3180345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4859B0-2726-A045-A762-E164DDA1D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755" y="6266328"/>
            <a:ext cx="1098346" cy="461090"/>
          </a:xfrm>
          <a:prstGeom prst="rect">
            <a:avLst/>
          </a:prstGeom>
        </p:spPr>
      </p:pic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443048C2-68E7-5643-B55B-3F47D9F553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accent6">
                    <a:lumMod val="85000"/>
                    <a:lumOff val="15000"/>
                  </a:schemeClr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accent6">
                    <a:lumMod val="85000"/>
                    <a:lumOff val="15000"/>
                  </a:schemeClr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accent6">
                    <a:lumMod val="85000"/>
                    <a:lumOff val="15000"/>
                  </a:schemeClr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accent6">
                    <a:lumMod val="85000"/>
                    <a:lumOff val="15000"/>
                  </a:schemeClr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accent6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0991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29">
            <a:extLst>
              <a:ext uri="{FF2B5EF4-FFF2-40B4-BE49-F238E27FC236}">
                <a16:creationId xmlns:a16="http://schemas.microsoft.com/office/drawing/2014/main" id="{FFD095AB-E691-40C1-B921-3ADDD0516C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1039258" cy="68019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tx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B4859B0-2726-A045-A762-E164DDA1D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4755" y="6266328"/>
            <a:ext cx="1098346" cy="461090"/>
          </a:xfrm>
          <a:prstGeom prst="rect">
            <a:avLst/>
          </a:prstGeom>
        </p:spPr>
      </p:pic>
      <p:sp>
        <p:nvSpPr>
          <p:cNvPr id="7" name="Text Placeholder 29">
            <a:extLst>
              <a:ext uri="{FF2B5EF4-FFF2-40B4-BE49-F238E27FC236}">
                <a16:creationId xmlns:a16="http://schemas.microsoft.com/office/drawing/2014/main" id="{0D48B0F2-0163-8241-930B-0BDBDEB6E72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accent6">
                    <a:lumMod val="85000"/>
                    <a:lumOff val="15000"/>
                  </a:schemeClr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accent6">
                    <a:lumMod val="85000"/>
                    <a:lumOff val="15000"/>
                  </a:schemeClr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accent6">
                    <a:lumMod val="85000"/>
                    <a:lumOff val="15000"/>
                  </a:schemeClr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accent6">
                    <a:lumMod val="85000"/>
                    <a:lumOff val="15000"/>
                  </a:schemeClr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accent6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9528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2B9E8-F693-456A-8F35-3BBDF9DE4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C81EC-B4C4-4791-9D2B-93E01F300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8EE78-369A-4A83-91BE-CE1CDBA0BAF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29">
            <a:extLst>
              <a:ext uri="{FF2B5EF4-FFF2-40B4-BE49-F238E27FC236}">
                <a16:creationId xmlns:a16="http://schemas.microsoft.com/office/drawing/2014/main" id="{AB3C08E7-A51F-5048-BE14-3699F84B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0944664" cy="62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FF2B-B996-6846-A499-68923F7338C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  <p:sp>
        <p:nvSpPr>
          <p:cNvPr id="8" name="Text Placeholder 29">
            <a:extLst>
              <a:ext uri="{FF2B5EF4-FFF2-40B4-BE49-F238E27FC236}">
                <a16:creationId xmlns:a16="http://schemas.microsoft.com/office/drawing/2014/main" id="{87019CC6-69C7-1646-AE49-8A896D114C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bg1"/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bg1"/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57246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2B9E8-F693-456A-8F35-3BBDF9DE4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C81EC-B4C4-4791-9D2B-93E01F300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8EE78-369A-4A83-91BE-CE1CDBA0BAF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29">
            <a:extLst>
              <a:ext uri="{FF2B5EF4-FFF2-40B4-BE49-F238E27FC236}">
                <a16:creationId xmlns:a16="http://schemas.microsoft.com/office/drawing/2014/main" id="{AB3C08E7-A51F-5048-BE14-3699F84B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810751"/>
            <a:ext cx="10944664" cy="62391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4000" b="1">
                <a:solidFill>
                  <a:schemeClr val="bg1"/>
                </a:solidFill>
                <a:latin typeface="+mn-lt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93FF2B-B996-6846-A499-68923F7338C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3278" y="6266328"/>
            <a:ext cx="1141301" cy="382081"/>
          </a:xfrm>
          <a:prstGeom prst="rect">
            <a:avLst/>
          </a:prstGeom>
        </p:spPr>
      </p:pic>
      <p:sp>
        <p:nvSpPr>
          <p:cNvPr id="12" name="Triangle 3">
            <a:extLst>
              <a:ext uri="{FF2B5EF4-FFF2-40B4-BE49-F238E27FC236}">
                <a16:creationId xmlns:a16="http://schemas.microsoft.com/office/drawing/2014/main" id="{2F7AC736-E3BE-1843-A8F2-D79ADBDF0326}"/>
              </a:ext>
            </a:extLst>
          </p:cNvPr>
          <p:cNvSpPr/>
          <p:nvPr userDrawn="1"/>
        </p:nvSpPr>
        <p:spPr>
          <a:xfrm rot="5400000">
            <a:off x="7732466" y="-3180345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riangle 3">
            <a:extLst>
              <a:ext uri="{FF2B5EF4-FFF2-40B4-BE49-F238E27FC236}">
                <a16:creationId xmlns:a16="http://schemas.microsoft.com/office/drawing/2014/main" id="{D216B81C-2024-3644-A517-25F8B493575A}"/>
              </a:ext>
            </a:extLst>
          </p:cNvPr>
          <p:cNvSpPr/>
          <p:nvPr userDrawn="1"/>
        </p:nvSpPr>
        <p:spPr>
          <a:xfrm rot="16200000">
            <a:off x="3140589" y="2398468"/>
            <a:ext cx="1318943" cy="7639877"/>
          </a:xfrm>
          <a:custGeom>
            <a:avLst/>
            <a:gdLst>
              <a:gd name="connsiteX0" fmla="*/ 0 w 7274560"/>
              <a:gd name="connsiteY0" fmla="*/ 3799840 h 3799840"/>
              <a:gd name="connsiteX1" fmla="*/ 3637280 w 7274560"/>
              <a:gd name="connsiteY1" fmla="*/ 0 h 3799840"/>
              <a:gd name="connsiteX2" fmla="*/ 7274560 w 7274560"/>
              <a:gd name="connsiteY2" fmla="*/ 3799840 h 3799840"/>
              <a:gd name="connsiteX3" fmla="*/ 0 w 7274560"/>
              <a:gd name="connsiteY3" fmla="*/ 3799840 h 3799840"/>
              <a:gd name="connsiteX0" fmla="*/ 0 w 11643360"/>
              <a:gd name="connsiteY0" fmla="*/ 4734560 h 4734560"/>
              <a:gd name="connsiteX1" fmla="*/ 11643360 w 11643360"/>
              <a:gd name="connsiteY1" fmla="*/ 0 h 4734560"/>
              <a:gd name="connsiteX2" fmla="*/ 7274560 w 11643360"/>
              <a:gd name="connsiteY2" fmla="*/ 4734560 h 4734560"/>
              <a:gd name="connsiteX3" fmla="*/ 0 w 11643360"/>
              <a:gd name="connsiteY3" fmla="*/ 4734560 h 4734560"/>
              <a:gd name="connsiteX0" fmla="*/ 0 w 11643360"/>
              <a:gd name="connsiteY0" fmla="*/ 4734560 h 4876800"/>
              <a:gd name="connsiteX1" fmla="*/ 11643360 w 11643360"/>
              <a:gd name="connsiteY1" fmla="*/ 0 h 4876800"/>
              <a:gd name="connsiteX2" fmla="*/ 8646160 w 11643360"/>
              <a:gd name="connsiteY2" fmla="*/ 4876800 h 4876800"/>
              <a:gd name="connsiteX3" fmla="*/ 0 w 11643360"/>
              <a:gd name="connsiteY3" fmla="*/ 4734560 h 4876800"/>
              <a:gd name="connsiteX0" fmla="*/ 0 w 2997200"/>
              <a:gd name="connsiteY0" fmla="*/ 0 h 4876800"/>
              <a:gd name="connsiteX1" fmla="*/ 2997200 w 2997200"/>
              <a:gd name="connsiteY1" fmla="*/ 0 h 4876800"/>
              <a:gd name="connsiteX2" fmla="*/ 0 w 2997200"/>
              <a:gd name="connsiteY2" fmla="*/ 4876800 h 4876800"/>
              <a:gd name="connsiteX3" fmla="*/ 0 w 2997200"/>
              <a:gd name="connsiteY3" fmla="*/ 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7200" h="4876800">
                <a:moveTo>
                  <a:pt x="0" y="0"/>
                </a:moveTo>
                <a:lnTo>
                  <a:pt x="2997200" y="0"/>
                </a:lnTo>
                <a:lnTo>
                  <a:pt x="0" y="48768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9">
            <a:extLst>
              <a:ext uri="{FF2B5EF4-FFF2-40B4-BE49-F238E27FC236}">
                <a16:creationId xmlns:a16="http://schemas.microsoft.com/office/drawing/2014/main" id="{B4BDF0FB-B769-224E-9DB0-A19BF56F5A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163" y="1829861"/>
            <a:ext cx="11039258" cy="260714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  <a:lvl2pPr marL="193655" indent="-192067" algn="l">
              <a:buClr>
                <a:schemeClr val="accent2"/>
              </a:buClr>
              <a:buFont typeface=".Lucida Grande UI Regular"/>
              <a:buChar char="►"/>
              <a:defRPr sz="2000">
                <a:solidFill>
                  <a:schemeClr val="bg1"/>
                </a:solidFill>
              </a:defRPr>
            </a:lvl2pPr>
            <a:lvl3pPr marL="457152" indent="-261910" algn="l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3pPr>
            <a:lvl4pPr marL="614298" indent="-155559" algn="l">
              <a:buClr>
                <a:schemeClr val="accent2"/>
              </a:buClr>
              <a:buFont typeface=".PingFang SC Regular"/>
              <a:buChar char="・"/>
              <a:defRPr sz="1600">
                <a:solidFill>
                  <a:schemeClr val="bg1"/>
                </a:solidFill>
              </a:defRPr>
            </a:lvl4pPr>
            <a:lvl5pPr algn="l">
              <a:buClr>
                <a:schemeClr val="accent2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104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tags" Target="../tags/tag2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270" imgH="270" progId="TCLayout.ActiveDocument.1">
                  <p:embed/>
                </p:oleObj>
              </mc:Choice>
              <mc:Fallback>
                <p:oleObj name="think-cell Slide" r:id="rId4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1" i="0" baseline="0">
              <a:solidFill>
                <a:srgbClr val="000000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8635" y="77303"/>
            <a:ext cx="50049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8" y="669802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343326"/>
            <a:ext cx="982165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639741"/>
            <a:ext cx="982165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09535" indent="-609535" defTabSz="895255">
              <a:tabLst>
                <a:tab pos="630171" algn="l"/>
              </a:tabLst>
            </a:pPr>
            <a:r>
              <a:rPr lang="en-US" sz="80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729245" y="1895613"/>
            <a:ext cx="5801188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>
            <a:extLst>
              <a:ext uri="{FF2B5EF4-FFF2-40B4-BE49-F238E27FC236}">
                <a16:creationId xmlns:a16="http://schemas.microsoft.com/office/drawing/2014/main" id="{2C790296-416B-4243-BEFE-22AF5A6C2F40}"/>
              </a:ext>
            </a:extLst>
          </p:cNvPr>
          <p:cNvGrpSpPr/>
          <p:nvPr/>
        </p:nvGrpSpPr>
        <p:grpSpPr bwMode="gray">
          <a:xfrm>
            <a:off x="11404519" y="291557"/>
            <a:ext cx="482957" cy="153874"/>
            <a:chOff x="8385789" y="285750"/>
            <a:chExt cx="354986" cy="150811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id="{1E5AEE43-9CA1-4C1A-8F9C-707F39AD42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800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>
              <a:extLst>
                <a:ext uri="{FF2B5EF4-FFF2-40B4-BE49-F238E27FC236}">
                  <a16:creationId xmlns:a16="http://schemas.microsoft.com/office/drawing/2014/main" id="{859BCCB4-F132-4E1A-BFA1-FA85C20CEC0A}"/>
                </a:ext>
              </a:extLst>
            </p:cNvPr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>
              <a:extLst>
                <a:ext uri="{FF2B5EF4-FFF2-40B4-BE49-F238E27FC236}">
                  <a16:creationId xmlns:a16="http://schemas.microsoft.com/office/drawing/2014/main" id="{65F249C0-F203-445A-80CB-8D05DC3432CB}"/>
                </a:ext>
              </a:extLst>
            </p:cNvPr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C09CF1AE-18B5-4A05-968F-8E22AD4154C8}"/>
              </a:ext>
            </a:extLst>
          </p:cNvPr>
          <p:cNvGrpSpPr/>
          <p:nvPr/>
        </p:nvGrpSpPr>
        <p:grpSpPr>
          <a:xfrm>
            <a:off x="10263058" y="277887"/>
            <a:ext cx="1373003" cy="777012"/>
            <a:chOff x="7607284" y="279400"/>
            <a:chExt cx="1009193" cy="761545"/>
          </a:xfrm>
        </p:grpSpPr>
        <p:sp>
          <p:nvSpPr>
            <p:cNvPr id="25" name="LineLegend1">
              <a:extLst>
                <a:ext uri="{FF2B5EF4-FFF2-40B4-BE49-F238E27FC236}">
                  <a16:creationId xmlns:a16="http://schemas.microsoft.com/office/drawing/2014/main" id="{6E4E729C-CF27-469E-BC29-42E6DDE52CD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>
                <a:latin typeface="+mn-lt"/>
                <a:ea typeface="+mn-ea"/>
              </a:endParaRPr>
            </a:p>
          </p:txBody>
        </p:sp>
        <p:sp>
          <p:nvSpPr>
            <p:cNvPr id="26" name="LineLegend2">
              <a:extLst>
                <a:ext uri="{FF2B5EF4-FFF2-40B4-BE49-F238E27FC236}">
                  <a16:creationId xmlns:a16="http://schemas.microsoft.com/office/drawing/2014/main" id="{605547A6-1672-4A2F-A185-7CED9DC77A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>
                <a:latin typeface="+mn-lt"/>
                <a:ea typeface="+mn-ea"/>
              </a:endParaRPr>
            </a:p>
          </p:txBody>
        </p:sp>
        <p:sp>
          <p:nvSpPr>
            <p:cNvPr id="27" name="LineLegend3">
              <a:extLst>
                <a:ext uri="{FF2B5EF4-FFF2-40B4-BE49-F238E27FC236}">
                  <a16:creationId xmlns:a16="http://schemas.microsoft.com/office/drawing/2014/main" id="{CB74C4EA-2B84-4C6B-BDFD-3B91B1F4A42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1" baseline="0">
                <a:latin typeface="+mn-lt"/>
                <a:ea typeface="+mn-ea"/>
              </a:endParaRPr>
            </a:p>
          </p:txBody>
        </p:sp>
        <p:sp>
          <p:nvSpPr>
            <p:cNvPr id="28" name="Legend1">
              <a:extLst>
                <a:ext uri="{FF2B5EF4-FFF2-40B4-BE49-F238E27FC236}">
                  <a16:creationId xmlns:a16="http://schemas.microsoft.com/office/drawing/2014/main" id="{4830EF76-F64C-47AA-8C70-B48DB7810355}"/>
                </a:ext>
              </a:extLst>
            </p:cNvPr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8169259" y="279400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>
              <a:extLst>
                <a:ext uri="{FF2B5EF4-FFF2-40B4-BE49-F238E27FC236}">
                  <a16:creationId xmlns:a16="http://schemas.microsoft.com/office/drawing/2014/main" id="{1CC412BD-A418-4880-A312-67FEF6330524}"/>
                </a:ext>
              </a:extLst>
            </p:cNvPr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8169259" y="546100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>
              <a:extLst>
                <a:ext uri="{FF2B5EF4-FFF2-40B4-BE49-F238E27FC236}">
                  <a16:creationId xmlns:a16="http://schemas.microsoft.com/office/drawing/2014/main" id="{2C424360-7EE9-43F1-B3CE-C9E680649FA6}"/>
                </a:ext>
              </a:extLst>
            </p:cNvPr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8169259" y="825501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1" name="LegendBoxes" hidden="1">
            <a:extLst>
              <a:ext uri="{FF2B5EF4-FFF2-40B4-BE49-F238E27FC236}">
                <a16:creationId xmlns:a16="http://schemas.microsoft.com/office/drawing/2014/main" id="{3152D7CE-B5AF-48C9-8163-3B00CA962908}"/>
              </a:ext>
            </a:extLst>
          </p:cNvPr>
          <p:cNvGrpSpPr/>
          <p:nvPr/>
        </p:nvGrpSpPr>
        <p:grpSpPr>
          <a:xfrm>
            <a:off x="10682059" y="277992"/>
            <a:ext cx="954005" cy="1049129"/>
            <a:chOff x="5894005" y="919828"/>
            <a:chExt cx="701218" cy="1028245"/>
          </a:xfrm>
        </p:grpSpPr>
        <p:sp>
          <p:nvSpPr>
            <p:cNvPr id="32" name="RectangleLegend1">
              <a:extLst>
                <a:ext uri="{FF2B5EF4-FFF2-40B4-BE49-F238E27FC236}">
                  <a16:creationId xmlns:a16="http://schemas.microsoft.com/office/drawing/2014/main" id="{D6B30678-9151-43BF-9B4C-4DB0625A93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+mn-lt"/>
                <a:ea typeface="+mn-ea"/>
              </a:endParaRPr>
            </a:p>
          </p:txBody>
        </p:sp>
        <p:sp>
          <p:nvSpPr>
            <p:cNvPr id="33" name="RectangleLegend2">
              <a:extLst>
                <a:ext uri="{FF2B5EF4-FFF2-40B4-BE49-F238E27FC236}">
                  <a16:creationId xmlns:a16="http://schemas.microsoft.com/office/drawing/2014/main" id="{7DEFBDC2-6FBE-46D6-BB92-FF7131E772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+mn-lt"/>
                <a:ea typeface="+mn-ea"/>
              </a:endParaRPr>
            </a:p>
          </p:txBody>
        </p:sp>
        <p:sp>
          <p:nvSpPr>
            <p:cNvPr id="34" name="RectangleLegend3">
              <a:extLst>
                <a:ext uri="{FF2B5EF4-FFF2-40B4-BE49-F238E27FC236}">
                  <a16:creationId xmlns:a16="http://schemas.microsoft.com/office/drawing/2014/main" id="{99CEF0ED-629B-4B1B-AA22-FF7E710251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+mn-lt"/>
                <a:ea typeface="+mn-ea"/>
              </a:endParaRPr>
            </a:p>
          </p:txBody>
        </p:sp>
        <p:sp>
          <p:nvSpPr>
            <p:cNvPr id="35" name="RectangleLegend4">
              <a:extLst>
                <a:ext uri="{FF2B5EF4-FFF2-40B4-BE49-F238E27FC236}">
                  <a16:creationId xmlns:a16="http://schemas.microsoft.com/office/drawing/2014/main" id="{9FC9AE04-ECC5-49AA-83D9-A50F8C3B8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1" baseline="0">
                <a:latin typeface="+mn-lt"/>
                <a:ea typeface="+mn-ea"/>
              </a:endParaRPr>
            </a:p>
          </p:txBody>
        </p:sp>
        <p:sp>
          <p:nvSpPr>
            <p:cNvPr id="36" name="Legend1">
              <a:extLst>
                <a:ext uri="{FF2B5EF4-FFF2-40B4-BE49-F238E27FC236}">
                  <a16:creationId xmlns:a16="http://schemas.microsoft.com/office/drawing/2014/main" id="{20DB3DB5-FE61-4830-A95E-895FE612923E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6148005" y="919828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>
              <a:extLst>
                <a:ext uri="{FF2B5EF4-FFF2-40B4-BE49-F238E27FC236}">
                  <a16:creationId xmlns:a16="http://schemas.microsoft.com/office/drawing/2014/main" id="{6BA38D5C-4662-40A1-80D4-59218788CCA4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6148005" y="1189703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>
              <a:extLst>
                <a:ext uri="{FF2B5EF4-FFF2-40B4-BE49-F238E27FC236}">
                  <a16:creationId xmlns:a16="http://schemas.microsoft.com/office/drawing/2014/main" id="{F6E468B5-FD40-42DE-8D1C-9DF0E4E2D785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6148005" y="1461166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9" name="Legend4">
              <a:extLst>
                <a:ext uri="{FF2B5EF4-FFF2-40B4-BE49-F238E27FC236}">
                  <a16:creationId xmlns:a16="http://schemas.microsoft.com/office/drawing/2014/main" id="{30C1A9EE-7EA3-431C-B21C-77604769D975}"/>
                </a:ext>
              </a:extLst>
            </p:cNvPr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1732629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0" name="LegendMoons" hidden="1">
            <a:extLst>
              <a:ext uri="{FF2B5EF4-FFF2-40B4-BE49-F238E27FC236}">
                <a16:creationId xmlns:a16="http://schemas.microsoft.com/office/drawing/2014/main" id="{7A8C3989-5146-471B-A276-90994769CB0C}"/>
              </a:ext>
            </a:extLst>
          </p:cNvPr>
          <p:cNvGrpSpPr/>
          <p:nvPr/>
        </p:nvGrpSpPr>
        <p:grpSpPr>
          <a:xfrm>
            <a:off x="10591346" y="277477"/>
            <a:ext cx="1044716" cy="1343754"/>
            <a:chOff x="5894005" y="2695123"/>
            <a:chExt cx="767893" cy="1317003"/>
          </a:xfrm>
        </p:grpSpPr>
        <p:grpSp>
          <p:nvGrpSpPr>
            <p:cNvPr id="41" name="MoonLegend1">
              <a:extLst>
                <a:ext uri="{FF2B5EF4-FFF2-40B4-BE49-F238E27FC236}">
                  <a16:creationId xmlns:a16="http://schemas.microsoft.com/office/drawing/2014/main" id="{DC55A7B2-C455-418F-BB9F-EE04A7C3CF1C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B4C5AE24-2FE5-49E5-AB02-3B1349FBA0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  <p:sp>
            <p:nvSpPr>
              <p:cNvPr id="60" name="Arc 59">
                <a:extLst>
                  <a:ext uri="{FF2B5EF4-FFF2-40B4-BE49-F238E27FC236}">
                    <a16:creationId xmlns:a16="http://schemas.microsoft.com/office/drawing/2014/main" id="{C78E24F2-3D4E-4A63-910E-68BA8A37726B}"/>
                  </a:ext>
                </a:extLst>
              </p:cNvPr>
              <p:cNvSpPr>
                <a:spLocks noChangeAspect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2">
              <a:extLst>
                <a:ext uri="{FF2B5EF4-FFF2-40B4-BE49-F238E27FC236}">
                  <a16:creationId xmlns:a16="http://schemas.microsoft.com/office/drawing/2014/main" id="{4F057237-2383-47D5-920A-40B2E61A0585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7" name="Oval 41">
                <a:extLst>
                  <a:ext uri="{FF2B5EF4-FFF2-40B4-BE49-F238E27FC236}">
                    <a16:creationId xmlns:a16="http://schemas.microsoft.com/office/drawing/2014/main" id="{99F17035-2F9A-40DE-BCE8-6B198BF689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  <p:sp>
            <p:nvSpPr>
              <p:cNvPr id="58" name="Arc 42">
                <a:extLst>
                  <a:ext uri="{FF2B5EF4-FFF2-40B4-BE49-F238E27FC236}">
                    <a16:creationId xmlns:a16="http://schemas.microsoft.com/office/drawing/2014/main" id="{3DA859E5-5A95-42F9-9AA2-9BEC934DE355}"/>
                  </a:ext>
                </a:extLst>
              </p:cNvPr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4">
              <a:extLst>
                <a:ext uri="{FF2B5EF4-FFF2-40B4-BE49-F238E27FC236}">
                  <a16:creationId xmlns:a16="http://schemas.microsoft.com/office/drawing/2014/main" id="{8E59139F-647D-4BF1-8AC9-9403D5279252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55" name="Oval 47">
                <a:extLst>
                  <a:ext uri="{FF2B5EF4-FFF2-40B4-BE49-F238E27FC236}">
                    <a16:creationId xmlns:a16="http://schemas.microsoft.com/office/drawing/2014/main" id="{0AF410E8-47A6-4D5E-893D-F5B90C7DD5D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  <p:sp>
            <p:nvSpPr>
              <p:cNvPr id="56" name="Arc 48">
                <a:extLst>
                  <a:ext uri="{FF2B5EF4-FFF2-40B4-BE49-F238E27FC236}">
                    <a16:creationId xmlns:a16="http://schemas.microsoft.com/office/drawing/2014/main" id="{D1CD27D6-1E7B-4B79-828D-9E47FB2873C4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5">
              <a:extLst>
                <a:ext uri="{FF2B5EF4-FFF2-40B4-BE49-F238E27FC236}">
                  <a16:creationId xmlns:a16="http://schemas.microsoft.com/office/drawing/2014/main" id="{32CE8755-B82F-4765-B7D4-05F5E2BAF1D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53" name="Oval 50">
                <a:extLst>
                  <a:ext uri="{FF2B5EF4-FFF2-40B4-BE49-F238E27FC236}">
                    <a16:creationId xmlns:a16="http://schemas.microsoft.com/office/drawing/2014/main" id="{64E30B6B-3348-4938-9CFE-31C6F82691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  <p:sp>
            <p:nvSpPr>
              <p:cNvPr id="54" name="Oval 51">
                <a:extLst>
                  <a:ext uri="{FF2B5EF4-FFF2-40B4-BE49-F238E27FC236}">
                    <a16:creationId xmlns:a16="http://schemas.microsoft.com/office/drawing/2014/main" id="{1D5CBCB1-AA55-4416-8252-8CAFE4EAD0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3">
              <a:extLst>
                <a:ext uri="{FF2B5EF4-FFF2-40B4-BE49-F238E27FC236}">
                  <a16:creationId xmlns:a16="http://schemas.microsoft.com/office/drawing/2014/main" id="{D35DAD38-AC87-4B86-BC5D-06B5CDD7FD7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id="{471F5580-2914-4B84-9ECF-147E164CD17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id="{943C9AA2-2D15-4342-B4C5-20E2CC6B306D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6" name="Legend1">
              <a:extLst>
                <a:ext uri="{FF2B5EF4-FFF2-40B4-BE49-F238E27FC236}">
                  <a16:creationId xmlns:a16="http://schemas.microsoft.com/office/drawing/2014/main" id="{6EA54B09-41B6-48BB-A955-90193D492328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214680" y="2696542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2">
              <a:extLst>
                <a:ext uri="{FF2B5EF4-FFF2-40B4-BE49-F238E27FC236}">
                  <a16:creationId xmlns:a16="http://schemas.microsoft.com/office/drawing/2014/main" id="{0AC1EE43-A017-4700-AF61-830731F30FE4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214680" y="2974156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3">
              <a:extLst>
                <a:ext uri="{FF2B5EF4-FFF2-40B4-BE49-F238E27FC236}">
                  <a16:creationId xmlns:a16="http://schemas.microsoft.com/office/drawing/2014/main" id="{2A6D11A2-9703-426A-86CA-4962B3EE0CCC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214680" y="3248596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4">
              <a:extLst>
                <a:ext uri="{FF2B5EF4-FFF2-40B4-BE49-F238E27FC236}">
                  <a16:creationId xmlns:a16="http://schemas.microsoft.com/office/drawing/2014/main" id="{3EA4E7B0-EFCC-4F9F-913E-143E08E90800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3521448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5">
              <a:extLst>
                <a:ext uri="{FF2B5EF4-FFF2-40B4-BE49-F238E27FC236}">
                  <a16:creationId xmlns:a16="http://schemas.microsoft.com/office/drawing/2014/main" id="{20FC0E8B-0D7F-4303-9FE5-44FA02D35FD0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3796682"/>
              <a:ext cx="44721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chemeClr val="tx2"/>
                </a:buClr>
              </a:pPr>
              <a:r>
                <a:rPr lang="en-US" sz="140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63" name="sticker" hidden="1">
            <a:extLst>
              <a:ext uri="{FF2B5EF4-FFF2-40B4-BE49-F238E27FC236}">
                <a16:creationId xmlns:a16="http://schemas.microsoft.com/office/drawing/2014/main" id="{025597A3-7585-4D09-8EDC-160D256F7168}"/>
              </a:ext>
            </a:extLst>
          </p:cNvPr>
          <p:cNvGrpSpPr/>
          <p:nvPr/>
        </p:nvGrpSpPr>
        <p:grpSpPr>
          <a:xfrm>
            <a:off x="8889371" y="2192"/>
            <a:ext cx="3011573" cy="153874"/>
            <a:chOff x="6478920" y="285750"/>
            <a:chExt cx="2258680" cy="153873"/>
          </a:xfrm>
        </p:grpSpPr>
        <p:sp>
          <p:nvSpPr>
            <p:cNvPr id="64" name="StickerRectangle">
              <a:extLst>
                <a:ext uri="{FF2B5EF4-FFF2-40B4-BE49-F238E27FC236}">
                  <a16:creationId xmlns:a16="http://schemas.microsoft.com/office/drawing/2014/main" id="{9DE3FA71-0B83-495C-9250-C7F0CEDD2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478920" y="285750"/>
              <a:ext cx="2258680" cy="15387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95255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</a:rPr>
                <a:t>PRELIMINARY DRAFT </a:t>
              </a: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</a:rPr>
                <a:t>- PROPRIETARY AND CONFIDENTIAL</a:t>
              </a:r>
            </a:p>
          </p:txBody>
        </p:sp>
        <p:cxnSp>
          <p:nvCxnSpPr>
            <p:cNvPr id="65" name="AutoShape 31">
              <a:extLst>
                <a:ext uri="{FF2B5EF4-FFF2-40B4-BE49-F238E27FC236}">
                  <a16:creationId xmlns:a16="http://schemas.microsoft.com/office/drawing/2014/main" id="{F7DA9444-9651-4951-8191-645A566A14FD}"/>
                </a:ext>
              </a:extLst>
            </p:cNvPr>
            <p:cNvCxnSpPr>
              <a:cxnSpLocks noChangeShapeType="1"/>
              <a:stCxn id="64" idx="2"/>
              <a:endCxn id="64" idx="4"/>
            </p:cNvCxnSpPr>
            <p:nvPr/>
          </p:nvCxnSpPr>
          <p:spPr bwMode="gray">
            <a:xfrm>
              <a:off x="6478920" y="285750"/>
              <a:ext cx="0" cy="15387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AutoShape 32">
              <a:extLst>
                <a:ext uri="{FF2B5EF4-FFF2-40B4-BE49-F238E27FC236}">
                  <a16:creationId xmlns:a16="http://schemas.microsoft.com/office/drawing/2014/main" id="{752022F4-854D-460A-BF46-8564800FD14B}"/>
                </a:ext>
              </a:extLst>
            </p:cNvPr>
            <p:cNvCxnSpPr>
              <a:cxnSpLocks noChangeShapeType="1"/>
              <a:stCxn id="64" idx="4"/>
              <a:endCxn id="64" idx="6"/>
            </p:cNvCxnSpPr>
            <p:nvPr/>
          </p:nvCxnSpPr>
          <p:spPr bwMode="gray">
            <a:xfrm>
              <a:off x="6478920" y="439623"/>
              <a:ext cx="225868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 Number">
            <a:extLst>
              <a:ext uri="{FF2B5EF4-FFF2-40B4-BE49-F238E27FC236}">
                <a16:creationId xmlns:a16="http://schemas.microsoft.com/office/drawing/2014/main" id="{5920B626-7C41-418D-ABDE-078F314165A9}"/>
              </a:ext>
            </a:extLst>
          </p:cNvPr>
          <p:cNvSpPr txBox="1">
            <a:spLocks/>
          </p:cNvSpPr>
          <p:nvPr/>
        </p:nvSpPr>
        <p:spPr bwMode="auto">
          <a:xfrm>
            <a:off x="11759894" y="6640468"/>
            <a:ext cx="127577" cy="1256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800" baseline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8872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7" algn="l"/>
        </a:tabLst>
        <a:defRPr sz="2041" b="1" baseline="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2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5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6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457152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614298" indent="-155559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jportal.com/DOR/SBERegistry/Default/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1382156-0D93-3140-ADB8-48991CDB46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4163" y="416849"/>
            <a:ext cx="11039258" cy="680198"/>
          </a:xfrm>
        </p:spPr>
        <p:txBody>
          <a:bodyPr/>
          <a:lstStyle/>
          <a:p>
            <a:r>
              <a:rPr lang="en-US" dirty="0">
                <a:latin typeface="Century Gothic" panose="020B0502020202020204" pitchFamily="34" charset="0"/>
              </a:rPr>
              <a:t>NJ State Certific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3CD59C-1E92-4D63-B33C-EE408D4A839A}"/>
              </a:ext>
            </a:extLst>
          </p:cNvPr>
          <p:cNvSpPr txBox="1"/>
          <p:nvPr/>
        </p:nvSpPr>
        <p:spPr>
          <a:xfrm>
            <a:off x="1124758" y="1159964"/>
            <a:ext cx="9942484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</a:rPr>
              <a:t>What certifications are available? </a:t>
            </a:r>
          </a:p>
          <a:p>
            <a:pPr marL="914400" marR="0" lvl="1" indent="-4572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Minority, Women, Veteran, </a:t>
            </a:r>
            <a:r>
              <a:rPr lang="en-US" sz="2000" dirty="0">
                <a:solidFill>
                  <a:srgbClr val="00587B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LGBTQ+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Small Business</a:t>
            </a:r>
          </a:p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 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587B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pPr marL="457200" marR="0" lvl="0" indent="-4572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</a:rPr>
              <a:t>Why should you apply for a certification?</a:t>
            </a:r>
          </a:p>
          <a:p>
            <a:pPr marL="914400" lvl="1" indent="-457200" defTabSz="609630">
              <a:buFont typeface="Arial" panose="020B0604020202020204" pitchFamily="34" charset="0"/>
              <a:buChar char="•"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</a:rPr>
              <a:t>Certification can assist you in qualifying for the many opportunities presented to diverse businesses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587B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 </a:t>
            </a:r>
          </a:p>
          <a:p>
            <a:pPr marL="457200" marR="0" lvl="0" indent="-4572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</a:rPr>
              <a:t>How do you apply for certification?</a:t>
            </a:r>
          </a:p>
          <a:p>
            <a:pPr marL="914400" marR="0" lvl="1" indent="-4572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  <a:hlinkClick r:id="rId2"/>
              </a:rPr>
              <a:t>https://www.njportal.com/DOR/SBERegistry/Default/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587B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 </a:t>
            </a:r>
          </a:p>
          <a:p>
            <a:pPr marL="457200" marR="0" lvl="0" indent="-4572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</a:rPr>
              <a:t>What types of documents are required to apply? </a:t>
            </a:r>
          </a:p>
          <a:p>
            <a:pPr marL="800100" marR="0" lvl="1" indent="-3429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</a:rPr>
              <a:t>Articles of formation, business tax returns, resume of principals</a:t>
            </a:r>
          </a:p>
          <a:p>
            <a:pPr marL="304815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 </a:t>
            </a:r>
          </a:p>
          <a:p>
            <a:pPr marL="457200" marR="0" lvl="0" indent="-45720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587B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Segoe UI Semilight" panose="020B0402040204020203" pitchFamily="34" charset="0"/>
              </a:rPr>
              <a:t>How long does it take to receive a certification determination?</a:t>
            </a:r>
          </a:p>
          <a:p>
            <a:pPr marL="914400" lvl="1" indent="-457200" defTabSz="60963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587B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Segoe UI Semilight" panose="020B0402040204020203" pitchFamily="34" charset="0"/>
              </a:rPr>
              <a:t>On average 30-45 days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587B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10871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Z..sWcMb44LU.r6O3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zZ..sWcMb44LU.r6O3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Y.H3RmlPAmkj56gDG3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Y.H3RmlPAmkj56gDG3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YcVrRtbWaUAvDeXgTB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2_Template_US0168">
  <a:themeElements>
    <a:clrScheme name="NJEDA FInal">
      <a:dk1>
        <a:srgbClr val="00587B"/>
      </a:dk1>
      <a:lt1>
        <a:srgbClr val="FFFFFF"/>
      </a:lt1>
      <a:dk2>
        <a:srgbClr val="00365B"/>
      </a:dk2>
      <a:lt2>
        <a:srgbClr val="FFFFFE"/>
      </a:lt2>
      <a:accent1>
        <a:srgbClr val="00587B"/>
      </a:accent1>
      <a:accent2>
        <a:srgbClr val="83BD00"/>
      </a:accent2>
      <a:accent3>
        <a:srgbClr val="053853"/>
      </a:accent3>
      <a:accent4>
        <a:srgbClr val="00587B"/>
      </a:accent4>
      <a:accent5>
        <a:srgbClr val="568239"/>
      </a:accent5>
      <a:accent6>
        <a:srgbClr val="000000"/>
      </a:accent6>
      <a:hlink>
        <a:srgbClr val="83BD00"/>
      </a:hlink>
      <a:folHlink>
        <a:srgbClr val="006B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94FA3"/>
        </a:dk2>
        <a:lt2>
          <a:srgbClr val="4390BB"/>
        </a:lt2>
        <a:accent1>
          <a:srgbClr val="CFD3D9"/>
        </a:accent1>
        <a:accent2>
          <a:srgbClr val="808080"/>
        </a:accent2>
        <a:accent3>
          <a:srgbClr val="568975"/>
        </a:accent3>
        <a:accent4>
          <a:srgbClr val="0070C0"/>
        </a:accent4>
        <a:accent5>
          <a:srgbClr val="B83536"/>
        </a:accent5>
        <a:accent6>
          <a:srgbClr val="808080"/>
        </a:accent6>
        <a:hlink>
          <a:srgbClr val="568975"/>
        </a:hlink>
        <a:folHlink>
          <a:srgbClr val="007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orkplan_v01.potx" id="{A5A9A795-2CC4-4577-B947-1DFBD041165C}" vid="{20D7C85B-426A-48A4-BC77-47F985C7AFE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100</Words>
  <Application>Microsoft Office PowerPoint</Application>
  <PresentationFormat>Widescreen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.Lucida Grande UI Regular</vt:lpstr>
      <vt:lpstr>.PingFang SC Regular</vt:lpstr>
      <vt:lpstr>Arial</vt:lpstr>
      <vt:lpstr>Calibri</vt:lpstr>
      <vt:lpstr>Century Gothic</vt:lpstr>
      <vt:lpstr>Franklin Gothic Demi Cond</vt:lpstr>
      <vt:lpstr>Wingdings</vt:lpstr>
      <vt:lpstr>2_Template_US0168</vt:lpstr>
      <vt:lpstr>think-cell Slide</vt:lpstr>
      <vt:lpstr>NJ State Certific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lene Asselta</dc:creator>
  <cp:lastModifiedBy>Ivan Mendez</cp:lastModifiedBy>
  <cp:revision>3</cp:revision>
  <dcterms:created xsi:type="dcterms:W3CDTF">2024-05-01T18:48:43Z</dcterms:created>
  <dcterms:modified xsi:type="dcterms:W3CDTF">2024-06-05T14:47:35Z</dcterms:modified>
</cp:coreProperties>
</file>